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9" r:id="rId3"/>
    <p:sldId id="262" r:id="rId4"/>
    <p:sldId id="263" r:id="rId5"/>
    <p:sldId id="261" r:id="rId6"/>
    <p:sldId id="265" r:id="rId7"/>
    <p:sldId id="260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35" autoAdjust="0"/>
    <p:restoredTop sz="94660"/>
  </p:normalViewPr>
  <p:slideViewPr>
    <p:cSldViewPr snapToGrid="0">
      <p:cViewPr varScale="1">
        <p:scale>
          <a:sx n="89" d="100"/>
          <a:sy n="89" d="100"/>
        </p:scale>
        <p:origin x="370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5/14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5/14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67924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5/1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5" r:id="rId4"/>
    <p:sldLayoutId id="2147483653" r:id="rId5"/>
    <p:sldLayoutId id="2147483654" r:id="rId6"/>
    <p:sldLayoutId id="2147483655" r:id="rId7"/>
    <p:sldLayoutId id="2147483666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7" r:id="rId15"/>
    <p:sldLayoutId id="2147483659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tmp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645" y="4660434"/>
            <a:ext cx="10478824" cy="1096899"/>
          </a:xfrm>
        </p:spPr>
        <p:txBody>
          <a:bodyPr>
            <a:noAutofit/>
          </a:bodyPr>
          <a:lstStyle/>
          <a:p>
            <a:pPr algn="ctr"/>
            <a:r>
              <a:rPr lang="en-US" sz="3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TECHNOLOGY PLATFORM TO TRAIN THE SOLAR WORKFORCE IN THE DEVELOPING WORLD</a:t>
            </a:r>
            <a:endParaRPr lang="en-US" sz="3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l="10271" r="10867" b="20699"/>
          <a:stretch/>
        </p:blipFill>
        <p:spPr>
          <a:xfrm>
            <a:off x="792259" y="1111841"/>
            <a:ext cx="8923283" cy="3548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9719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$420 BILLION FOR MINI-GRID AND OFF-GRID ELECTRIFICATION BY 2030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Mini-grids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Isolated off-grid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7457" y="2669484"/>
            <a:ext cx="4480560" cy="289444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7334" y="2779626"/>
            <a:ext cx="4389120" cy="246888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546538" y="6589989"/>
            <a:ext cx="33633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/>
              <a:t>Sources: IEA estimate, M-</a:t>
            </a:r>
            <a:r>
              <a:rPr lang="en-US" sz="1200" i="1" dirty="0" err="1" smtClean="0"/>
              <a:t>Kopa</a:t>
            </a: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1067720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291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2" name="Picture 4" descr="https://lh3.googleusercontent.com/e34hPUqbJHggTHn11xKnG9qszSDdPeE6raXcJuAd23tY0BJtEAT6pWnDmoUDW5dtx298Ue_a0Ysbd8Qi4009-ZshUQC7VhhyjEMeNfoHlCtb0Qyfg-aDxI6pd__RofupPmy8O3g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32" y="1770994"/>
            <a:ext cx="3514725" cy="2638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“SET IT AND FORGET IT” HAS PLAGUED MANY PAST NGO AND GOVERNMENT EFFORTS…</a:t>
            </a:r>
            <a:endParaRPr lang="en-US" dirty="0"/>
          </a:p>
        </p:txBody>
      </p:sp>
      <p:sp>
        <p:nvSpPr>
          <p:cNvPr id="8" name="Title 3"/>
          <p:cNvSpPr txBox="1">
            <a:spLocks/>
          </p:cNvSpPr>
          <p:nvPr/>
        </p:nvSpPr>
        <p:spPr>
          <a:xfrm>
            <a:off x="545955" y="5759668"/>
            <a:ext cx="8596668" cy="8176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dirty="0" smtClean="0"/>
              <a:t>…LEADING TO A LACK OF TRUST</a:t>
            </a:r>
            <a:endParaRPr lang="en-US" dirty="0"/>
          </a:p>
        </p:txBody>
      </p:sp>
      <p:pic>
        <p:nvPicPr>
          <p:cNvPr id="7174" name="Picture 6" descr="http://news.nationalgeographic.com/content/dam/news/photos/000/429/42900.adapt.768.1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2" t="9759" b="18316"/>
          <a:stretch/>
        </p:blipFill>
        <p:spPr bwMode="auto">
          <a:xfrm>
            <a:off x="4087119" y="1763274"/>
            <a:ext cx="6606925" cy="3384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http://www.abakus-solar.us/wp-content/uploads/2012/11/Pic-1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84"/>
          <a:stretch/>
        </p:blipFill>
        <p:spPr bwMode="auto">
          <a:xfrm>
            <a:off x="2141699" y="3642430"/>
            <a:ext cx="3579589" cy="2117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53591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creen Clippi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3668" y="1932697"/>
            <a:ext cx="3543607" cy="2339543"/>
          </a:xfrm>
          <a:prstGeom prst="rect">
            <a:avLst/>
          </a:prstGeom>
        </p:spPr>
      </p:pic>
      <p:pic>
        <p:nvPicPr>
          <p:cNvPr id="6146" name="Picture 2" descr="https://lh5.googleusercontent.com/r5guEi6-A56nmVr5I-qcOZ8URV4NZClGldqabBzAI9mUMFQ8muqknRgoFK_BANzC6i9Ccdtoi00yNaxT6Oypx1TeoXgnSZqpuUylKPsAL9LhxO5oKgW5C2XGXyJwI0-_-TGsI_3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275" y="3642306"/>
            <a:ext cx="3751483" cy="250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s://lh3.googleusercontent.com/ldT7IbcwxOCbZ5u1pgypccdK0h28wjLTejDGEcKsiw5IUAmOPXDqPmcv94dWhcQE3CY8kjpvtRZqIoWyQv2gey-AMT62dgoGrEGzLFThn3Azk68qea2DXbhPMbFZdtHaZmplyqx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213" y="379740"/>
            <a:ext cx="5486400" cy="308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3"/>
          <p:cNvSpPr txBox="1">
            <a:spLocks/>
          </p:cNvSpPr>
          <p:nvPr/>
        </p:nvSpPr>
        <p:spPr>
          <a:xfrm>
            <a:off x="545955" y="5759668"/>
            <a:ext cx="8596668" cy="8176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dirty="0" smtClean="0"/>
              <a:t>LOCAL TRAI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714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455812" y="377828"/>
            <a:ext cx="9887260" cy="119445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200" b="1" dirty="0" smtClean="0"/>
              <a:t>MOBILE TRAINING AND DIAGNOSTIC PLATFORM</a:t>
            </a:r>
            <a:endParaRPr lang="en-US" sz="32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12" y="975055"/>
            <a:ext cx="9363509" cy="5805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5090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897" y="0"/>
            <a:ext cx="9827145" cy="6858000"/>
          </a:xfrm>
          <a:prstGeom prst="rect">
            <a:avLst/>
          </a:prstGeom>
        </p:spPr>
      </p:pic>
      <p:sp>
        <p:nvSpPr>
          <p:cNvPr id="4" name="Title 3"/>
          <p:cNvSpPr txBox="1">
            <a:spLocks/>
          </p:cNvSpPr>
          <p:nvPr/>
        </p:nvSpPr>
        <p:spPr>
          <a:xfrm>
            <a:off x="136634" y="2957132"/>
            <a:ext cx="5789820" cy="119445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3200" b="1" dirty="0" smtClean="0"/>
              <a:t>COMPANY-SPECIFIC CONTENT</a:t>
            </a:r>
          </a:p>
          <a:p>
            <a:pPr algn="r"/>
            <a:r>
              <a:rPr lang="en-US" sz="3200" b="1" dirty="0" smtClean="0"/>
              <a:t>DEVELOPMENT PLATFORM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8824989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6"/>
          <a:srcRect t="16432"/>
          <a:stretch/>
        </p:blipFill>
        <p:spPr>
          <a:xfrm>
            <a:off x="3746174" y="753291"/>
            <a:ext cx="3584759" cy="359690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554014" y="4109545"/>
            <a:ext cx="68317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 smtClean="0">
                <a:solidFill>
                  <a:schemeClr val="accent2"/>
                </a:solidFill>
                <a:latin typeface="Bauhaus 93" panose="04030905020B02020C02" pitchFamily="82" charset="0"/>
              </a:rPr>
              <a:t>Thank you!</a:t>
            </a:r>
            <a:endParaRPr lang="en-US" sz="9600" dirty="0">
              <a:solidFill>
                <a:schemeClr val="accent2"/>
              </a:solidFill>
              <a:latin typeface="Bauhaus 93" panose="04030905020B02020C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8716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4NX4oBS8C7NCo1Hk7O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95</TotalTime>
  <Words>68</Words>
  <Application>Microsoft Office PowerPoint</Application>
  <PresentationFormat>Widescreen</PresentationFormat>
  <Paragraphs>1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Bauhaus 93</vt:lpstr>
      <vt:lpstr>Tahoma</vt:lpstr>
      <vt:lpstr>Trebuchet MS</vt:lpstr>
      <vt:lpstr>Wingdings 3</vt:lpstr>
      <vt:lpstr>Facet</vt:lpstr>
      <vt:lpstr>think-cell Slide</vt:lpstr>
      <vt:lpstr>PowerPoint Presentation</vt:lpstr>
      <vt:lpstr>$420 BILLION FOR MINI-GRID AND OFF-GRID ELECTRIFICATION BY 2030</vt:lpstr>
      <vt:lpstr>“SET IT AND FORGET IT” HAS PLAGUED MANY PAST NGO AND GOVERNMENT EFFORTS…</vt:lpstr>
      <vt:lpstr>PowerPoint Presentation</vt:lpstr>
      <vt:lpstr>PowerPoint Presentation</vt:lpstr>
      <vt:lpstr>PowerPoint Presentation</vt:lpstr>
      <vt:lpstr>PowerPoint Presentation</vt:lpstr>
    </vt:vector>
  </TitlesOfParts>
  <Company>First Sola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cinda Gibbs</dc:creator>
  <cp:lastModifiedBy>Lucinda Gibbs</cp:lastModifiedBy>
  <cp:revision>18</cp:revision>
  <dcterms:created xsi:type="dcterms:W3CDTF">2016-05-14T19:01:18Z</dcterms:created>
  <dcterms:modified xsi:type="dcterms:W3CDTF">2016-05-15T00:41:59Z</dcterms:modified>
</cp:coreProperties>
</file>